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7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558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/>
              <a:t>CREO PARAMETRIC – PLASTIC PART DESIG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15859" y="1200418"/>
            <a:ext cx="10613951" cy="36662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Specialized features to speed the creation and analysis of plastic and “thin walled” par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98093" y="1852573"/>
            <a:ext cx="3511218" cy="16977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02894" y="4558331"/>
            <a:ext cx="3089106" cy="206579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95423" y="3627416"/>
            <a:ext cx="2585009" cy="81084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2473" y="3627416"/>
            <a:ext cx="2362200" cy="1513425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29584" y="1779566"/>
            <a:ext cx="2993989" cy="170921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EC15E6E-6916-4AEB-A1E9-10A330940EBC}"/>
              </a:ext>
            </a:extLst>
          </p:cNvPr>
          <p:cNvSpPr/>
          <p:nvPr/>
        </p:nvSpPr>
        <p:spPr>
          <a:xfrm>
            <a:off x="508539" y="1862473"/>
            <a:ext cx="1510147" cy="5246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7E422C-3EFC-4BC2-9932-6F2CD348E969}"/>
              </a:ext>
            </a:extLst>
          </p:cNvPr>
          <p:cNvSpPr/>
          <p:nvPr/>
        </p:nvSpPr>
        <p:spPr>
          <a:xfrm>
            <a:off x="2159394" y="1862473"/>
            <a:ext cx="3413972" cy="524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design plastic parts and “thin walled” geometr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14B7581-1095-43A5-B5E2-8CDA0823EB3B}"/>
              </a:ext>
            </a:extLst>
          </p:cNvPr>
          <p:cNvSpPr/>
          <p:nvPr/>
        </p:nvSpPr>
        <p:spPr>
          <a:xfrm>
            <a:off x="508539" y="2468260"/>
            <a:ext cx="1510147" cy="7495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704B19-949D-4926-B7FF-3D2C1187E116}"/>
              </a:ext>
            </a:extLst>
          </p:cNvPr>
          <p:cNvSpPr/>
          <p:nvPr/>
        </p:nvSpPr>
        <p:spPr>
          <a:xfrm>
            <a:off x="2159395" y="2468260"/>
            <a:ext cx="3601922" cy="7495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92C381A-418D-4816-B9B2-C4A1EA2A1082}"/>
              </a:ext>
            </a:extLst>
          </p:cNvPr>
          <p:cNvSpPr/>
          <p:nvPr/>
        </p:nvSpPr>
        <p:spPr>
          <a:xfrm>
            <a:off x="508539" y="3298931"/>
            <a:ext cx="1510147" cy="6373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F18CD46-917C-4C13-8524-74C247B4ED0F}"/>
              </a:ext>
            </a:extLst>
          </p:cNvPr>
          <p:cNvSpPr/>
          <p:nvPr/>
        </p:nvSpPr>
        <p:spPr>
          <a:xfrm>
            <a:off x="2159394" y="3415136"/>
            <a:ext cx="4266721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3D plastic part desig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F406B00-52C0-4A9C-A06C-08BB6329F18B}"/>
              </a:ext>
            </a:extLst>
          </p:cNvPr>
          <p:cNvSpPr/>
          <p:nvPr/>
        </p:nvSpPr>
        <p:spPr>
          <a:xfrm>
            <a:off x="508539" y="4017386"/>
            <a:ext cx="1510147" cy="14630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5A4D987-E3B2-409D-9313-483F5BFB5CFA}"/>
              </a:ext>
            </a:extLst>
          </p:cNvPr>
          <p:cNvSpPr/>
          <p:nvPr/>
        </p:nvSpPr>
        <p:spPr>
          <a:xfrm>
            <a:off x="2159394" y="4058026"/>
            <a:ext cx="4657965" cy="138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rue 3D thickness checking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analysis and verification of draft geometr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pecialized features to speed the creation of thin walled par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ntegral capabilities to analyze molding conditions and optimize geometr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6EC269E-6E45-44EC-B283-C1ABCC9C2234}"/>
              </a:ext>
            </a:extLst>
          </p:cNvPr>
          <p:cNvCxnSpPr>
            <a:cxnSpLocks/>
          </p:cNvCxnSpPr>
          <p:nvPr/>
        </p:nvCxnSpPr>
        <p:spPr>
          <a:xfrm>
            <a:off x="2115671" y="1862473"/>
            <a:ext cx="0" cy="52465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202FFAE-8F94-4507-914D-BBA0157F09DB}"/>
              </a:ext>
            </a:extLst>
          </p:cNvPr>
          <p:cNvCxnSpPr>
            <a:cxnSpLocks/>
          </p:cNvCxnSpPr>
          <p:nvPr/>
        </p:nvCxnSpPr>
        <p:spPr>
          <a:xfrm>
            <a:off x="2115671" y="2468259"/>
            <a:ext cx="0" cy="74953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F64BB04-6247-4C52-8AE4-E4EAB4761AE5}"/>
              </a:ext>
            </a:extLst>
          </p:cNvPr>
          <p:cNvCxnSpPr>
            <a:cxnSpLocks/>
          </p:cNvCxnSpPr>
          <p:nvPr/>
        </p:nvCxnSpPr>
        <p:spPr>
          <a:xfrm>
            <a:off x="2115671" y="3298929"/>
            <a:ext cx="0" cy="6373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7A3C6DA-0641-4054-8583-74B6D7ECB786}"/>
              </a:ext>
            </a:extLst>
          </p:cNvPr>
          <p:cNvCxnSpPr>
            <a:cxnSpLocks/>
          </p:cNvCxnSpPr>
          <p:nvPr/>
        </p:nvCxnSpPr>
        <p:spPr>
          <a:xfrm>
            <a:off x="2115671" y="4017386"/>
            <a:ext cx="0" cy="146304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345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88</Words>
  <Application>Microsoft Office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Wingdings</vt:lpstr>
      <vt:lpstr>Arial</vt:lpstr>
      <vt:lpstr>PTCRaleway</vt:lpstr>
      <vt:lpstr>PTCRaleway Black</vt:lpstr>
      <vt:lpstr>Arial Narrow</vt:lpstr>
      <vt:lpstr>PTC PowerPoint Template</vt:lpstr>
      <vt:lpstr>think-cell Slide</vt:lpstr>
      <vt:lpstr>CREO PARAMETRIC – PLASTIC PART DESIG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3T12:0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